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8"/>
  </p:notesMasterIdLst>
  <p:handoutMasterIdLst>
    <p:handoutMasterId r:id="rId19"/>
  </p:handoutMasterIdLst>
  <p:sldIdLst>
    <p:sldId id="277" r:id="rId6"/>
    <p:sldId id="338" r:id="rId7"/>
    <p:sldId id="354" r:id="rId8"/>
    <p:sldId id="399" r:id="rId9"/>
    <p:sldId id="423" r:id="rId10"/>
    <p:sldId id="260" r:id="rId11"/>
    <p:sldId id="520" r:id="rId12"/>
    <p:sldId id="485" r:id="rId13"/>
    <p:sldId id="524" r:id="rId14"/>
    <p:sldId id="363" r:id="rId15"/>
    <p:sldId id="521" r:id="rId16"/>
    <p:sldId id="522" r:id="rId17"/>
  </p:sldIdLst>
  <p:sldSz cx="12192000" cy="6858000"/>
  <p:notesSz cx="7010400" cy="92964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354"/>
            <p14:sldId id="399"/>
            <p14:sldId id="423"/>
            <p14:sldId id="260"/>
            <p14:sldId id="520"/>
            <p14:sldId id="485"/>
            <p14:sldId id="524"/>
            <p14:sldId id="363"/>
            <p14:sldId id="521"/>
            <p14:sldId id="522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AED1831-5635-7CB2-C0C7-231D22BA87AF}" name="Hay, Jeremiah (EHS)" initials="HJ(" userId="S::Jeremiah.Hay1@mass.gov::fc8926cf-5bbb-4f28-b849-35530ea0c8f1" providerId="AD"/>
  <p188:author id="{BBEA6B7A-A2CA-04FB-2142-88B5AF60DEF2}" name="Hay, Jeremiah (EHS)" initials="HJ(" userId="Hay, Jeremiah (EHS)" providerId="None"/>
  <p188:author id="{4544017C-12F6-718E-8E6A-4430824BFC4B}" name="McEvoy, Meghan (EHS)" initials="MM(" userId="S::Meghan.McEvoy@mass.gov::7f96c7c9-deec-4bb3-aa4d-382052c5a893" providerId="AD"/>
  <p188:author id="{50E85794-49E9-AE1C-9AB1-D3263B083F0E}" name="Johnston, Russell (DESE)" initials="JR(" userId="S::russell.johnston@mass.gov::9dc7468c-4e37-4531-b5d7-de3dc3343d55" providerId="AD"/>
  <p188:author id="{D91404A8-0AE6-BF7D-4A56-40226C5453BA}" name="Castner, Kristin (DESE)" initials="CK(" userId="S::Kristin.Castner@mass.gov::1d8d5ffd-bb00-4b2f-9ec9-0da637ba0a15" providerId="AD"/>
  <p188:author id="{486281B9-19F9-208F-E444-F67114DFC47E}" name="Hay, Jeremiah (EHS)" initials="H(" userId="S::jeremiah.hay1@mass.gov::fc8926cf-5bbb-4f28-b849-35530ea0c8f1" providerId="AD"/>
  <p188:author id="{1B0707E1-ECD2-90FA-4D1A-BF222CA53DD6}" name="Johnston, Russell (DESE)" initials="JR(" userId="S::Russell.Johnston@mass.gov::7c120461-dde6-4347-b09f-f9c0472c7017" providerId="AD"/>
  <p188:author id="{5A3F0EF4-3C0D-73A3-27C7-E90D66090C92}" name="Woo, Lauren (DESE)" initials="WL(" userId="S::Lauren.Woo@mass.gov::891b1bf9-83ca-4481-960c-a0625b521a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o, Lauren (DESE)" initials="WL(" lastIdx="26" clrIdx="0"/>
  <p:cmAuthor id="2" name="Johnston, Russell (DESE)" initials="J(" lastIdx="2" clrIdx="1"/>
  <p:cmAuthor id="3" name="eliza" initials="el" lastIdx="6" clrIdx="2"/>
  <p:cmAuthor id="4" name="Hay, Jeremiah (EHS)" initials="H(" lastIdx="9" clrIdx="3"/>
  <p:cmAuthor id="5" name="Larsen, Elizabeth (EHS)" initials="L(" lastIdx="1" clrIdx="4"/>
  <p:cmAuthor id="6" name="Hay, Jeremiah (EHS)" initials="HJ(" lastIdx="25" clrIdx="5"/>
  <p:cmAuthor id="7" name="Sean Burpoe" initials="SB" lastIdx="35" clrIdx="6"/>
  <p:cmAuthor id="8" name="Sean Burpoe" initials="SB [2]" lastIdx="1" clrIdx="7"/>
  <p:cmAuthor id="9" name="LaMontagne, Elizabeth (GOV)" initials="LE(" lastIdx="14" clrIdx="8"/>
  <p:cmAuthor id="10" name="Larsen, Elizabeth (EHS)" initials="LE(" lastIdx="28" clrIdx="9"/>
  <p:cmAuthor id="11" name="Jeremiah Hay" initials="JH" lastIdx="16" clrIdx="10"/>
  <p:cmAuthor id="12" name="Burpoe, Sean (EHS)" initials="BS(" lastIdx="8" clrIdx="11">
    <p:extLst>
      <p:ext uri="{19B8F6BF-5375-455C-9EA6-DF929625EA0E}">
        <p15:presenceInfo xmlns:p15="http://schemas.microsoft.com/office/powerpoint/2012/main" userId="Burpoe, Sean (EHS)" providerId="None"/>
      </p:ext>
    </p:extLst>
  </p:cmAuthor>
  <p:cmAuthor id="13" name="Burpoe, Sean (EHS)" initials="BS( [2]" lastIdx="5" clrIdx="12">
    <p:extLst>
      <p:ext uri="{19B8F6BF-5375-455C-9EA6-DF929625EA0E}">
        <p15:presenceInfo xmlns:p15="http://schemas.microsoft.com/office/powerpoint/2012/main" userId="S::Sean.Burpoe@mass.gov::8ac0b20a-7813-464f-a29c-2da0cb7f6a97" providerId="AD"/>
      </p:ext>
    </p:extLst>
  </p:cmAuthor>
  <p:cmAuthor id="14" name="Johnston, Russell (DESE)" initials="JR(" lastIdx="2" clrIdx="13">
    <p:extLst>
      <p:ext uri="{19B8F6BF-5375-455C-9EA6-DF929625EA0E}">
        <p15:presenceInfo xmlns:p15="http://schemas.microsoft.com/office/powerpoint/2012/main" userId="S::russell.johnston@mass.gov::9dc7468c-4e37-4531-b5d7-de3dc3343d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791C"/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2" autoAdjust="0"/>
    <p:restoredTop sz="94712" autoAdjust="0"/>
  </p:normalViewPr>
  <p:slideViewPr>
    <p:cSldViewPr snapToGrid="0">
      <p:cViewPr varScale="1">
        <p:scale>
          <a:sx n="103" d="100"/>
          <a:sy n="103" d="100"/>
        </p:scale>
        <p:origin x="150" y="1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96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is, Jacqueline (DESE)" userId="aa37f990-0fff-42a8-b528-76ed07452333" providerId="ADAL" clId="{167CB367-CB73-40A9-9685-A96E7426AAAF}"/>
    <pc:docChg chg="undo custSel modSld">
      <pc:chgData name="Reis, Jacqueline (DESE)" userId="aa37f990-0fff-42a8-b528-76ed07452333" providerId="ADAL" clId="{167CB367-CB73-40A9-9685-A96E7426AAAF}" dt="2022-06-13T19:32:45.069" v="698" actId="962"/>
      <pc:docMkLst>
        <pc:docMk/>
      </pc:docMkLst>
      <pc:sldChg chg="modSp mod">
        <pc:chgData name="Reis, Jacqueline (DESE)" userId="aa37f990-0fff-42a8-b528-76ed07452333" providerId="ADAL" clId="{167CB367-CB73-40A9-9685-A96E7426AAAF}" dt="2022-06-13T19:30:52.121" v="30" actId="13244"/>
        <pc:sldMkLst>
          <pc:docMk/>
          <pc:sldMk cId="1350330162" sldId="260"/>
        </pc:sldMkLst>
        <pc:spChg chg="mod">
          <ac:chgData name="Reis, Jacqueline (DESE)" userId="aa37f990-0fff-42a8-b528-76ed07452333" providerId="ADAL" clId="{167CB367-CB73-40A9-9685-A96E7426AAAF}" dt="2022-06-13T19:28:39.295" v="19" actId="962"/>
          <ac:spMkLst>
            <pc:docMk/>
            <pc:sldMk cId="1350330162" sldId="260"/>
            <ac:spMk id="3" creationId="{CD1339F8-8D02-41F1-BC13-8A7F7814425B}"/>
          </ac:spMkLst>
        </pc:spChg>
        <pc:spChg chg="ord">
          <ac:chgData name="Reis, Jacqueline (DESE)" userId="aa37f990-0fff-42a8-b528-76ed07452333" providerId="ADAL" clId="{167CB367-CB73-40A9-9685-A96E7426AAAF}" dt="2022-06-13T19:30:52.121" v="30" actId="13244"/>
          <ac:spMkLst>
            <pc:docMk/>
            <pc:sldMk cId="1350330162" sldId="260"/>
            <ac:spMk id="5" creationId="{9AD0AFD2-1B95-417A-8608-AD39EE5AF1E1}"/>
          </ac:spMkLst>
        </pc:spChg>
      </pc:sldChg>
      <pc:sldChg chg="modSp mod">
        <pc:chgData name="Reis, Jacqueline (DESE)" userId="aa37f990-0fff-42a8-b528-76ed07452333" providerId="ADAL" clId="{167CB367-CB73-40A9-9685-A96E7426AAAF}" dt="2022-06-13T19:27:09.263" v="15" actId="962"/>
        <pc:sldMkLst>
          <pc:docMk/>
          <pc:sldMk cId="2072273155" sldId="338"/>
        </pc:sldMkLst>
        <pc:spChg chg="mod ord">
          <ac:chgData name="Reis, Jacqueline (DESE)" userId="aa37f990-0fff-42a8-b528-76ed07452333" providerId="ADAL" clId="{167CB367-CB73-40A9-9685-A96E7426AAAF}" dt="2022-06-13T19:25:04.193" v="10" actId="13244"/>
          <ac:spMkLst>
            <pc:docMk/>
            <pc:sldMk cId="2072273155" sldId="338"/>
            <ac:spMk id="2" creationId="{583E9537-4F6A-46DB-AD72-657BE96D43DC}"/>
          </ac:spMkLst>
        </pc:spChg>
        <pc:spChg chg="mod">
          <ac:chgData name="Reis, Jacqueline (DESE)" userId="aa37f990-0fff-42a8-b528-76ed07452333" providerId="ADAL" clId="{167CB367-CB73-40A9-9685-A96E7426AAAF}" dt="2022-06-13T19:27:09.263" v="15" actId="962"/>
          <ac:spMkLst>
            <pc:docMk/>
            <pc:sldMk cId="2072273155" sldId="338"/>
            <ac:spMk id="4" creationId="{A6F69EA1-58B4-4443-886E-6075610B84B4}"/>
          </ac:spMkLst>
        </pc:spChg>
        <pc:spChg chg="mod ord">
          <ac:chgData name="Reis, Jacqueline (DESE)" userId="aa37f990-0fff-42a8-b528-76ed07452333" providerId="ADAL" clId="{167CB367-CB73-40A9-9685-A96E7426AAAF}" dt="2022-06-13T19:25:00.865" v="9" actId="962"/>
          <ac:spMkLst>
            <pc:docMk/>
            <pc:sldMk cId="2072273155" sldId="338"/>
            <ac:spMk id="7" creationId="{35CC4292-3CA3-4037-A609-C6A3385B82BF}"/>
          </ac:spMkLst>
        </pc:spChg>
        <pc:spChg chg="ord">
          <ac:chgData name="Reis, Jacqueline (DESE)" userId="aa37f990-0fff-42a8-b528-76ed07452333" providerId="ADAL" clId="{167CB367-CB73-40A9-9685-A96E7426AAAF}" dt="2022-06-13T19:25:16.120" v="11" actId="13244"/>
          <ac:spMkLst>
            <pc:docMk/>
            <pc:sldMk cId="2072273155" sldId="338"/>
            <ac:spMk id="13" creationId="{F60C4F73-E6AA-4767-8E39-1DB9EBEB6A15}"/>
          </ac:spMkLst>
        </pc:spChg>
      </pc:sldChg>
      <pc:sldChg chg="modSp mod">
        <pc:chgData name="Reis, Jacqueline (DESE)" userId="aa37f990-0fff-42a8-b528-76ed07452333" providerId="ADAL" clId="{167CB367-CB73-40A9-9685-A96E7426AAAF}" dt="2022-06-13T19:26:36.946" v="14" actId="962"/>
        <pc:sldMkLst>
          <pc:docMk/>
          <pc:sldMk cId="776713918" sldId="354"/>
        </pc:sldMkLst>
        <pc:spChg chg="ord">
          <ac:chgData name="Reis, Jacqueline (DESE)" userId="aa37f990-0fff-42a8-b528-76ed07452333" providerId="ADAL" clId="{167CB367-CB73-40A9-9685-A96E7426AAAF}" dt="2022-06-13T19:25:58.553" v="12" actId="13244"/>
          <ac:spMkLst>
            <pc:docMk/>
            <pc:sldMk cId="776713918" sldId="354"/>
            <ac:spMk id="2" creationId="{C10B6439-896A-4327-BA37-401DCC59F3AC}"/>
          </ac:spMkLst>
        </pc:spChg>
        <pc:spChg chg="mod">
          <ac:chgData name="Reis, Jacqueline (DESE)" userId="aa37f990-0fff-42a8-b528-76ed07452333" providerId="ADAL" clId="{167CB367-CB73-40A9-9685-A96E7426AAAF}" dt="2022-06-13T19:26:36.946" v="14" actId="962"/>
          <ac:spMkLst>
            <pc:docMk/>
            <pc:sldMk cId="776713918" sldId="354"/>
            <ac:spMk id="13" creationId="{78100357-6D62-4EA8-9540-D45BE9FE7C94}"/>
          </ac:spMkLst>
        </pc:spChg>
        <pc:spChg chg="mod">
          <ac:chgData name="Reis, Jacqueline (DESE)" userId="aa37f990-0fff-42a8-b528-76ed07452333" providerId="ADAL" clId="{167CB367-CB73-40A9-9685-A96E7426AAAF}" dt="2022-06-13T19:26:28.847" v="13" actId="962"/>
          <ac:spMkLst>
            <pc:docMk/>
            <pc:sldMk cId="776713918" sldId="354"/>
            <ac:spMk id="26" creationId="{CCFED3AA-BF2B-435B-B95C-873C1C5C89BD}"/>
          </ac:spMkLst>
        </pc:spChg>
      </pc:sldChg>
      <pc:sldChg chg="modSp mod">
        <pc:chgData name="Reis, Jacqueline (DESE)" userId="aa37f990-0fff-42a8-b528-76ed07452333" providerId="ADAL" clId="{167CB367-CB73-40A9-9685-A96E7426AAAF}" dt="2022-06-13T19:30:21.893" v="28" actId="962"/>
        <pc:sldMkLst>
          <pc:docMk/>
          <pc:sldMk cId="3690988543" sldId="363"/>
        </pc:sldMkLst>
        <pc:spChg chg="mod">
          <ac:chgData name="Reis, Jacqueline (DESE)" userId="aa37f990-0fff-42a8-b528-76ed07452333" providerId="ADAL" clId="{167CB367-CB73-40A9-9685-A96E7426AAAF}" dt="2022-06-13T19:30:20.617" v="27" actId="962"/>
          <ac:spMkLst>
            <pc:docMk/>
            <pc:sldMk cId="3690988543" sldId="363"/>
            <ac:spMk id="3" creationId="{CD1339F8-8D02-41F1-BC13-8A7F7814425B}"/>
          </ac:spMkLst>
        </pc:spChg>
        <pc:spChg chg="mod">
          <ac:chgData name="Reis, Jacqueline (DESE)" userId="aa37f990-0fff-42a8-b528-76ed07452333" providerId="ADAL" clId="{167CB367-CB73-40A9-9685-A96E7426AAAF}" dt="2022-06-13T19:30:21.893" v="28" actId="962"/>
          <ac:spMkLst>
            <pc:docMk/>
            <pc:sldMk cId="3690988543" sldId="363"/>
            <ac:spMk id="5" creationId="{9AD0AFD2-1B95-417A-8608-AD39EE5AF1E1}"/>
          </ac:spMkLst>
        </pc:spChg>
      </pc:sldChg>
      <pc:sldChg chg="modSp mod">
        <pc:chgData name="Reis, Jacqueline (DESE)" userId="aa37f990-0fff-42a8-b528-76ed07452333" providerId="ADAL" clId="{167CB367-CB73-40A9-9685-A96E7426AAAF}" dt="2022-06-13T19:30:37.217" v="29" actId="13244"/>
        <pc:sldMkLst>
          <pc:docMk/>
          <pc:sldMk cId="3002458709" sldId="399"/>
        </pc:sldMkLst>
        <pc:spChg chg="mod">
          <ac:chgData name="Reis, Jacqueline (DESE)" userId="aa37f990-0fff-42a8-b528-76ed07452333" providerId="ADAL" clId="{167CB367-CB73-40A9-9685-A96E7426AAAF}" dt="2022-06-13T19:27:42.297" v="16" actId="962"/>
          <ac:spMkLst>
            <pc:docMk/>
            <pc:sldMk cId="3002458709" sldId="399"/>
            <ac:spMk id="3" creationId="{CD1339F8-8D02-41F1-BC13-8A7F7814425B}"/>
          </ac:spMkLst>
        </pc:spChg>
        <pc:spChg chg="ord">
          <ac:chgData name="Reis, Jacqueline (DESE)" userId="aa37f990-0fff-42a8-b528-76ed07452333" providerId="ADAL" clId="{167CB367-CB73-40A9-9685-A96E7426AAAF}" dt="2022-06-13T19:30:37.217" v="29" actId="13244"/>
          <ac:spMkLst>
            <pc:docMk/>
            <pc:sldMk cId="3002458709" sldId="399"/>
            <ac:spMk id="5" creationId="{9AD0AFD2-1B95-417A-8608-AD39EE5AF1E1}"/>
          </ac:spMkLst>
        </pc:spChg>
      </pc:sldChg>
      <pc:sldChg chg="modSp mod">
        <pc:chgData name="Reis, Jacqueline (DESE)" userId="aa37f990-0fff-42a8-b528-76ed07452333" providerId="ADAL" clId="{167CB367-CB73-40A9-9685-A96E7426AAAF}" dt="2022-06-13T19:32:45.069" v="698" actId="962"/>
        <pc:sldMkLst>
          <pc:docMk/>
          <pc:sldMk cId="790217983" sldId="423"/>
        </pc:sldMkLst>
        <pc:spChg chg="mod">
          <ac:chgData name="Reis, Jacqueline (DESE)" userId="aa37f990-0fff-42a8-b528-76ed07452333" providerId="ADAL" clId="{167CB367-CB73-40A9-9685-A96E7426AAAF}" dt="2022-06-13T19:28:08.378" v="17" actId="962"/>
          <ac:spMkLst>
            <pc:docMk/>
            <pc:sldMk cId="790217983" sldId="423"/>
            <ac:spMk id="4" creationId="{8EF219BD-0990-4AB9-BB58-EC4C7B7A9E95}"/>
          </ac:spMkLst>
        </pc:spChg>
        <pc:picChg chg="mod">
          <ac:chgData name="Reis, Jacqueline (DESE)" userId="aa37f990-0fff-42a8-b528-76ed07452333" providerId="ADAL" clId="{167CB367-CB73-40A9-9685-A96E7426AAAF}" dt="2022-06-13T19:32:45.069" v="698" actId="962"/>
          <ac:picMkLst>
            <pc:docMk/>
            <pc:sldMk cId="790217983" sldId="423"/>
            <ac:picMk id="7" creationId="{3CE08643-861E-436A-B5D2-C1BFA6DE9734}"/>
          </ac:picMkLst>
        </pc:picChg>
      </pc:sldChg>
      <pc:sldChg chg="modSp mod">
        <pc:chgData name="Reis, Jacqueline (DESE)" userId="aa37f990-0fff-42a8-b528-76ed07452333" providerId="ADAL" clId="{167CB367-CB73-40A9-9685-A96E7426AAAF}" dt="2022-06-13T19:29:54.815" v="24" actId="962"/>
        <pc:sldMkLst>
          <pc:docMk/>
          <pc:sldMk cId="1023492310" sldId="524"/>
        </pc:sldMkLst>
        <pc:spChg chg="mod">
          <ac:chgData name="Reis, Jacqueline (DESE)" userId="aa37f990-0fff-42a8-b528-76ed07452333" providerId="ADAL" clId="{167CB367-CB73-40A9-9685-A96E7426AAAF}" dt="2022-06-13T19:29:54.815" v="24" actId="962"/>
          <ac:spMkLst>
            <pc:docMk/>
            <pc:sldMk cId="1023492310" sldId="524"/>
            <ac:spMk id="4" creationId="{F3D7B764-E162-42BD-A705-09969F5E926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2/6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2/6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35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aur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21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11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2344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666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112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6/13/2022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rldefense.com/v3/__https:/aasacentral.org/toolkit-vaccination/__;!!CUhgQOZqV7M!xl6wy7pheuPXYllitKCPX-lwdlbdEU8NoGnIYf961Tuy8pt7frNsYu7QX0LPi5q5$" TargetMode="External"/><Relationship Id="rId2" Type="http://schemas.openxmlformats.org/officeDocument/2006/relationships/hyperlink" Target="https://urldefense.com/v3/__https:/aasa.org/home/__;!!CUhgQOZqV7M!xl6wy7pheuPXYllitKCPX-lwdlbdEU8NoGnIYf961Tuy8pt7frNsYu7QX6R5IgjD$" TargetMode="Externa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spudelski@aasa.org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2022-0609faq.docx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2022-0609faq.docx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ms.gov/files/document/over-counter-otc-home-testing-and-clia-applicability.pdf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1332" y="2240782"/>
            <a:ext cx="5577039" cy="2113502"/>
          </a:xfrm>
        </p:spPr>
        <p:txBody>
          <a:bodyPr vert="horz"/>
          <a:lstStyle/>
          <a:p>
            <a:pPr>
              <a:spcAft>
                <a:spcPts val="600"/>
              </a:spcAft>
            </a:pP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r>
              <a:rPr lang="en-US" sz="3600" dirty="0">
                <a:latin typeface="+mj-lt"/>
                <a:cs typeface="Arial"/>
              </a:rPr>
              <a:t>COVID-19 Testing Update:</a:t>
            </a:r>
            <a:br>
              <a:rPr lang="en-US" sz="3600" dirty="0">
                <a:latin typeface="+mj-lt"/>
                <a:cs typeface="Arial"/>
              </a:rPr>
            </a:br>
            <a:br>
              <a:rPr lang="en-US" sz="3600" dirty="0">
                <a:latin typeface="+mj-lt"/>
                <a:cs typeface="Arial"/>
              </a:rPr>
            </a:br>
            <a:r>
              <a:rPr lang="en-US" sz="3200" dirty="0">
                <a:latin typeface="+mj-lt"/>
                <a:cs typeface="Arial"/>
              </a:rPr>
              <a:t>Updates and </a:t>
            </a:r>
            <a:br>
              <a:rPr lang="en-US" sz="3200" dirty="0">
                <a:latin typeface="+mj-lt"/>
                <a:cs typeface="Arial"/>
              </a:rPr>
            </a:br>
            <a:r>
              <a:rPr lang="en-US" sz="3200" dirty="0">
                <a:latin typeface="+mj-lt"/>
                <a:cs typeface="Arial"/>
              </a:rPr>
              <a:t>Frequently Asked Questions </a:t>
            </a:r>
            <a:br>
              <a:rPr lang="en-US" sz="28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sz="3200" dirty="0">
                <a:latin typeface="+mj-lt"/>
                <a:cs typeface="Arial"/>
              </a:rPr>
            </a:br>
            <a:br>
              <a:rPr lang="en-US" altLang="zh-CN" sz="36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endParaRPr lang="en-US" sz="3600" dirty="0">
              <a:latin typeface="+mj-lt"/>
              <a:cs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336280" y="4169618"/>
            <a:ext cx="385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>
                <a:solidFill>
                  <a:schemeClr val="bg1"/>
                </a:solidFill>
              </a:rPr>
              <a:t>June 13, 2022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80616" y="2968001"/>
            <a:ext cx="8257032" cy="1325563"/>
          </a:xfrm>
        </p:spPr>
        <p:txBody>
          <a:bodyPr/>
          <a:lstStyle/>
          <a:p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AASA Toolkit to Help Schools and Districts </a:t>
            </a:r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ncrease</a:t>
            </a:r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Vaccination Rates</a:t>
            </a: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</a:br>
            <a:endParaRPr lang="en-US" altLang="zh-CN" sz="400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9885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7D060-A207-4AC8-BE6D-841FA118A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ressing Vaccination Rates of U.S. Students: A Toolkit for Educational Leade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3D58CE-92D9-4183-8803-79EF8A6AFC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sz="2400">
                <a:latin typeface="+mn-lt"/>
              </a:rPr>
              <a:t>On June 9, </a:t>
            </a:r>
            <a:r>
              <a:rPr lang="en-US" sz="2400" i="1">
                <a:latin typeface="+mn-lt"/>
                <a:hlinkClick r:id="rId2"/>
              </a:rPr>
              <a:t>AASA, The School Superintendents’ Association</a:t>
            </a:r>
            <a:r>
              <a:rPr lang="en-US" sz="2400" i="1">
                <a:latin typeface="+mn-lt"/>
              </a:rPr>
              <a:t> </a:t>
            </a:r>
            <a:r>
              <a:rPr lang="en-US" sz="2400">
                <a:latin typeface="+mn-lt"/>
              </a:rPr>
              <a:t>and the Merck Foundation </a:t>
            </a:r>
            <a:r>
              <a:rPr lang="en-US" sz="2400">
                <a:effectLst/>
                <a:latin typeface="+mn-lt"/>
                <a:ea typeface="Calibri" panose="020F0502020204030204" pitchFamily="34" charset="0"/>
              </a:rPr>
              <a:t>released a toolkit designed to help educational leaders address student vaccination rates.</a:t>
            </a:r>
            <a:r>
              <a:rPr lang="en-US" sz="2400" dirty="0">
                <a:effectLst/>
                <a:latin typeface="+mn-lt"/>
                <a:ea typeface="Calibri" panose="020F0502020204030204" pitchFamily="34" charset="0"/>
              </a:rPr>
              <a:t> </a:t>
            </a:r>
          </a:p>
          <a:p>
            <a:pPr marR="0">
              <a:spcBef>
                <a:spcPts val="1200"/>
              </a:spcBef>
              <a:spcAft>
                <a:spcPts val="0"/>
              </a:spcAft>
            </a:pPr>
            <a:r>
              <a:rPr lang="en-US" sz="2400" i="1" u="sng">
                <a:solidFill>
                  <a:srgbClr val="0563C1"/>
                </a:solidFill>
                <a:effectLst/>
                <a:latin typeface="+mn-lt"/>
                <a:ea typeface="Calibri" panose="020F0502020204030204" pitchFamily="34" charset="0"/>
                <a:hlinkClick r:id="rId3"/>
              </a:rPr>
              <a:t>Addressing the Decline of Vaccination Rates of U.S. Students: A Toolkit for Educational Leaders</a:t>
            </a:r>
            <a:r>
              <a:rPr lang="en-US" sz="2400">
                <a:solidFill>
                  <a:srgbClr val="000000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US" sz="2400">
                <a:effectLst/>
                <a:latin typeface="+mn-lt"/>
                <a:ea typeface="Calibri" panose="020F0502020204030204" pitchFamily="34" charset="0"/>
              </a:rPr>
              <a:t>provides resources to support administrators and provide direction about how schools, districts and families can address this problem.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2400">
              <a:effectLst/>
              <a:latin typeface="+mn-lt"/>
              <a:ea typeface="Calibri" panose="020F0502020204030204" pitchFamily="34" charset="0"/>
            </a:endParaRPr>
          </a:p>
          <a:p>
            <a:endParaRPr lang="en-US" sz="2400">
              <a:effectLst/>
              <a:latin typeface="+mn-lt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255B00-51BF-441F-8271-630AA90B8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5659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3B1B8-2A34-4D96-8072-DDA8B8ED8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oolki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D00D10-CB4D-4B7C-8664-45078F7764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</a:rPr>
              <a:t>The toolkit contains a series of modules that can be easily integrated into PD sessions for educational leaders as they facilitate the work of improving vaccination rates in their respective districts. The modules are: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1: Understanding the Implications of Vaccination Declines Resulting from the COVID-19 Pandemic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2: Strategies for Increasing Staff Understanding of Lower Vaccination Rates and Their Impact on Learning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3: Addressing the Understanding and Needs of Parents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4: Building Cross-Institutional Partnerships to Develop and Sustain School- and District-Level Vaccination 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5: Strategies for Engaging Community and District Support to Increase and Sustain Student Vaccination Rates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dule 6: A Comprehensive Planning Guide to Ensure Vaccination Equity and Student-Family Access to Health Services</a:t>
            </a: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toolkit is available to superintendents, school boards, executive staff, school-based administration and teachers, as well as families and community members. It contains case studies, recommended action steps for building district- or school-based vaccination clinics and resources that integrate into ongoing discussions, professional development and outreach sessions. 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 more information, contact Sasha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udelski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AASA advocacy director at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spudelski@aasa.org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9B31C2-C736-444E-9E6E-8265F9DB3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8597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>
                <a:latin typeface="+mj-lt"/>
                <a:cs typeface="Arial"/>
              </a:rPr>
              <a:t>Today’s Presentation</a:t>
            </a:r>
            <a:endParaRPr lang="en-US" sz="3600">
              <a:latin typeface="+mj-lt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3094" y="1379241"/>
            <a:ext cx="4459009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/>
              <a:t>Department of Elementary and Secondary Education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643093" y="2678165"/>
            <a:ext cx="445901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Russell Johnston, </a:t>
            </a:r>
            <a:r>
              <a:rPr lang="en-US" sz="2000" i="1"/>
              <a:t>Deputy Commissioner</a:t>
            </a:r>
            <a:endParaRPr lang="en-US" sz="2000" b="1" i="1"/>
          </a:p>
          <a:p>
            <a:r>
              <a:rPr lang="en-US" sz="2000" b="1"/>
              <a:t>Lauren Woo, </a:t>
            </a:r>
            <a:r>
              <a:rPr lang="en-US" sz="2000" i="1"/>
              <a:t>Strategic Transformation Director</a:t>
            </a:r>
            <a:endParaRPr lang="en-US" sz="2000" b="1" i="1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6284621" y="1379241"/>
            <a:ext cx="4775889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>
                <a:latin typeface="Segoe UI Semibold"/>
                <a:cs typeface="Segoe UI Semibold"/>
              </a:rPr>
              <a:t>Executive Office of Health and Human Services</a:t>
            </a:r>
            <a:endParaRPr lang="en-US" sz="2000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6284621" y="2640344"/>
            <a:ext cx="4587268" cy="37992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latin typeface="Segoe UI"/>
                <a:cs typeface="Segoe UI"/>
              </a:rPr>
              <a:t>Jeremiah Hay, </a:t>
            </a:r>
            <a:r>
              <a:rPr lang="en-US" sz="2000" i="1">
                <a:latin typeface="Segoe UI"/>
                <a:cs typeface="Segoe UI"/>
              </a:rPr>
              <a:t>Deputy Chief of Staff</a:t>
            </a:r>
          </a:p>
          <a:p>
            <a:r>
              <a:rPr lang="en-US" sz="2000" b="1">
                <a:latin typeface="Segoe UI"/>
                <a:cs typeface="Segoe UI"/>
              </a:rPr>
              <a:t>Meg McEvoy, </a:t>
            </a:r>
            <a:r>
              <a:rPr lang="en-US" sz="2000" i="1">
                <a:latin typeface="Segoe UI"/>
                <a:cs typeface="Segoe UI"/>
              </a:rPr>
              <a:t>Strategy Manager</a:t>
            </a:r>
            <a:endParaRPr lang="en-US" sz="2000" i="1"/>
          </a:p>
          <a:p>
            <a:pPr marL="0" indent="0">
              <a:buNone/>
            </a:pPr>
            <a:endParaRPr lang="en-US" sz="2000" i="1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B6439-896A-4327-BA37-401DCC59F3A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620" y="2832511"/>
            <a:ext cx="2526792" cy="1325563"/>
          </a:xfrm>
        </p:spPr>
        <p:txBody>
          <a:bodyPr/>
          <a:lstStyle/>
          <a:p>
            <a:pPr rtl="0" eaLnBrk="1" latinLnBrk="0" hangingPunct="1"/>
            <a:r>
              <a:rPr lang="en-US" sz="3200" kern="1200">
                <a:solidFill>
                  <a:srgbClr val="FFFFFF"/>
                </a:solidFill>
                <a:effectLst/>
                <a:latin typeface="Segoe SemiBold" panose="020B0703040204020203"/>
                <a:ea typeface="Segoe UI Black" panose="020B0A02040204020203" pitchFamily="34" charset="0"/>
                <a:cs typeface="Segoe SemiBold" panose="020B0703040204020203"/>
              </a:rPr>
              <a:t>CONTENTS</a:t>
            </a:r>
            <a:endParaRPr lang="en-US">
              <a:effectLst/>
            </a:endParaRPr>
          </a:p>
        </p:txBody>
      </p:sp>
      <p:grpSp>
        <p:nvGrpSpPr>
          <p:cNvPr id="18" name="Group 17" descr="Recap of Pooled Testing Program"/>
          <p:cNvGrpSpPr/>
          <p:nvPr/>
        </p:nvGrpSpPr>
        <p:grpSpPr>
          <a:xfrm>
            <a:off x="3061062" y="1370577"/>
            <a:ext cx="8839199" cy="2058769"/>
            <a:chOff x="3061064" y="799903"/>
            <a:chExt cx="8839199" cy="2058769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799903"/>
              <a:ext cx="809458" cy="809458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1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2049214"/>
              <a:ext cx="7981410" cy="80945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/>
                </a:rPr>
                <a:t>New FAQ Document</a:t>
              </a:r>
              <a:endParaRPr lang="zh-CN" altLang="en-US" sz="32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21" name="Group 20" descr="District Responsibilities"/>
          <p:cNvGrpSpPr/>
          <p:nvPr/>
        </p:nvGrpSpPr>
        <p:grpSpPr>
          <a:xfrm>
            <a:off x="3061061" y="3824273"/>
            <a:ext cx="8839200" cy="809459"/>
            <a:chOff x="3061063" y="1873080"/>
            <a:chExt cx="8839200" cy="809459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F780B69-F97B-4D0D-8F5F-78444E7DF0F0}"/>
                </a:ext>
              </a:extLst>
            </p:cNvPr>
            <p:cNvSpPr/>
            <p:nvPr/>
          </p:nvSpPr>
          <p:spPr>
            <a:xfrm>
              <a:off x="3061063" y="1873080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>
                  <a:latin typeface="+mj-lt"/>
                  <a:cs typeface="Segoe SemiBold" panose="020B0703040204020203" pitchFamily="34" charset="0"/>
                </a:rPr>
                <a:t>03</a:t>
              </a:r>
              <a:endParaRPr lang="zh-CN" altLang="en-US" sz="320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BB88417-3982-47EE-8B46-D25117B6C604}"/>
                </a:ext>
              </a:extLst>
            </p:cNvPr>
            <p:cNvSpPr txBox="1"/>
            <p:nvPr/>
          </p:nvSpPr>
          <p:spPr>
            <a:xfrm>
              <a:off x="3918853" y="1873080"/>
              <a:ext cx="7981410" cy="809459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Toolkit to Help Schools and Districts Increase Vaccination Rates</a:t>
              </a:r>
            </a:p>
          </p:txBody>
        </p:sp>
      </p:grpSp>
      <p:sp>
        <p:nvSpPr>
          <p:cNvPr id="13" name="矩形 7">
            <a:extLst>
              <a:ext uri="{FF2B5EF4-FFF2-40B4-BE49-F238E27FC236}">
                <a16:creationId xmlns:a16="http://schemas.microsoft.com/office/drawing/2014/main" id="{78100357-6D62-4EA8-9540-D45BE9FE7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61062" y="2629936"/>
            <a:ext cx="809458" cy="809458"/>
          </a:xfrm>
          <a:prstGeom prst="rect">
            <a:avLst/>
          </a:prstGeom>
          <a:solidFill>
            <a:srgbClr val="D67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3200">
                <a:latin typeface="+mj-lt"/>
                <a:cs typeface="Segoe SemiBold" panose="020B0703040204020203" pitchFamily="34" charset="0"/>
              </a:rPr>
              <a:t>02</a:t>
            </a:r>
            <a:endParaRPr lang="zh-CN" altLang="en-US" sz="3200">
              <a:latin typeface="+mj-lt"/>
              <a:cs typeface="Segoe SemiBold" panose="020B0703040204020203" pitchFamily="34" charset="0"/>
            </a:endParaRPr>
          </a:p>
        </p:txBody>
      </p:sp>
      <p:sp>
        <p:nvSpPr>
          <p:cNvPr id="26" name="文本框 8">
            <a:extLst>
              <a:ext uri="{FF2B5EF4-FFF2-40B4-BE49-F238E27FC236}">
                <a16:creationId xmlns:a16="http://schemas.microsoft.com/office/drawing/2014/main" id="{CCFED3AA-BF2B-435B-B95C-873C1C5C89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918851" y="1403103"/>
            <a:ext cx="7981410" cy="80945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r>
              <a:rPr lang="en-US" altLang="zh-CN" sz="32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Updated COVID Testing Data</a:t>
            </a:r>
            <a:endParaRPr lang="zh-CN" altLang="en-US" sz="3200">
              <a:solidFill>
                <a:schemeClr val="accent1">
                  <a:lumMod val="50000"/>
                </a:schemeClr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6713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Updated COVID Testing Data</a:t>
            </a:r>
            <a:endParaRPr lang="zh-CN" altLang="en-US" sz="4000">
              <a:solidFill>
                <a:schemeClr val="accent1">
                  <a:lumMod val="50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458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219BD-0990-4AB9-BB58-EC4C7B7A9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FF27229C-EC7B-4063-A33B-28A5E87E32ED}" type="slidenum">
              <a:rPr lang="en-US" altLang="zh-CN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5</a:t>
            </a:fld>
            <a:endParaRPr lang="en-US" altLang="zh-CN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E74FFC-891A-48B5-845A-0E8ED612CCB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OVID-19 Testing data</a:t>
            </a:r>
          </a:p>
        </p:txBody>
      </p:sp>
      <p:pic>
        <p:nvPicPr>
          <p:cNvPr id="7" name="Picture 6" descr="Table showing number of schools doing different kinds of COVID testing from May 30 through June 5 and from August 30 through June 5. 1,522 schools did at least one form of testing last week, and 2,311 have done so since August 30.">
            <a:extLst>
              <a:ext uri="{FF2B5EF4-FFF2-40B4-BE49-F238E27FC236}">
                <a16:creationId xmlns:a16="http://schemas.microsoft.com/office/drawing/2014/main" id="{3CE08643-861E-436A-B5D2-C1BFA6DE97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900" y="260724"/>
            <a:ext cx="9411528" cy="583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217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New FAQ Document </a:t>
            </a:r>
            <a:b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</a:br>
            <a:r>
              <a:rPr lang="en-US" altLang="zh-CN" sz="400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(Released June 9, 2022)</a:t>
            </a:r>
            <a:endParaRPr lang="zh-CN" altLang="en-US" sz="4000">
              <a:solidFill>
                <a:schemeClr val="accent1">
                  <a:lumMod val="50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D1339F8-8D02-41F1-BC13-8A7F781442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3E8458-9F22-46C3-860A-EEAD97F5F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min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89033B-D981-4CEA-9F51-0783045DC9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The </a:t>
            </a:r>
            <a:r>
              <a:rPr lang="en-US">
                <a:hlinkClick r:id="rId2"/>
              </a:rPr>
              <a:t>June 9 FAQ document</a:t>
            </a:r>
            <a:r>
              <a:rPr lang="en-US"/>
              <a:t> includes reminders of previously released information, including:</a:t>
            </a:r>
          </a:p>
          <a:p>
            <a:pPr lvl="1"/>
            <a:r>
              <a:rPr lang="en-US"/>
              <a:t>The type of testing that will be offered to </a:t>
            </a:r>
            <a:r>
              <a:rPr lang="en-US" b="1"/>
              <a:t>school-based summer programs </a:t>
            </a:r>
            <a:r>
              <a:rPr lang="en-US"/>
              <a:t>during Summer 2022</a:t>
            </a:r>
          </a:p>
          <a:p>
            <a:pPr lvl="1"/>
            <a:r>
              <a:rPr lang="en-US"/>
              <a:t>Required consents for Summer 2022</a:t>
            </a:r>
          </a:p>
          <a:p>
            <a:pPr lvl="1"/>
            <a:r>
              <a:rPr lang="en-US"/>
              <a:t>How to obtain a summary of all individuals that consented to your testing program for 2021-2022</a:t>
            </a:r>
          </a:p>
          <a:p>
            <a:pPr lvl="1"/>
            <a:r>
              <a:rPr lang="en-US"/>
              <a:t>Handling “expiring” BinaxNOW and </a:t>
            </a:r>
            <a:r>
              <a:rPr lang="en-US" err="1"/>
              <a:t>iHealth</a:t>
            </a:r>
            <a:r>
              <a:rPr lang="en-US"/>
              <a:t> tests</a:t>
            </a:r>
          </a:p>
          <a:p>
            <a:pPr lvl="2"/>
            <a:r>
              <a:rPr lang="en-US"/>
              <a:t>Extended expiration dates and how to dispose of expired tests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9700B-94C4-46AA-B00E-4E6F63909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4003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F7D87-D25A-4FCD-8021-F6288B83B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743" y="299199"/>
            <a:ext cx="11370972" cy="679905"/>
          </a:xfrm>
        </p:spPr>
        <p:txBody>
          <a:bodyPr/>
          <a:lstStyle/>
          <a:p>
            <a:r>
              <a:rPr lang="en-US"/>
              <a:t>What’s New in the FAQ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F4020-C90D-424B-B464-09723001E5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The </a:t>
            </a:r>
            <a:r>
              <a:rPr lang="en-US">
                <a:hlinkClick r:id="rId2"/>
              </a:rPr>
              <a:t>June 9 FAQ document</a:t>
            </a:r>
            <a:r>
              <a:rPr lang="en-US"/>
              <a:t> also includes information on:</a:t>
            </a:r>
          </a:p>
          <a:p>
            <a:pPr lvl="1"/>
            <a:r>
              <a:rPr lang="en-US" dirty="0"/>
              <a:t>Requirements to run symptomatic testing in summer 2022 will be covered by the state.</a:t>
            </a:r>
            <a:endParaRPr lang="en-US" sz="2000" dirty="0"/>
          </a:p>
          <a:p>
            <a:pPr lvl="1"/>
            <a:r>
              <a:rPr lang="en-US" sz="2800"/>
              <a:t>Requirements to run testing programs in </a:t>
            </a:r>
            <a:r>
              <a:rPr lang="en-US" sz="2800" dirty="0"/>
              <a:t>fall </a:t>
            </a:r>
            <a:r>
              <a:rPr lang="en-US" sz="2800"/>
              <a:t>2022 and beyond</a:t>
            </a:r>
            <a:r>
              <a:rPr lang="en-US" sz="2800" dirty="0"/>
              <a:t> will need to be met by districts, if necessary.</a:t>
            </a:r>
          </a:p>
          <a:p>
            <a:pPr marL="1497013" lvl="4" indent="-457200">
              <a:buFont typeface="Wingdings" panose="05000000000000000000" pitchFamily="2" charset="2"/>
              <a:buChar char="Ø"/>
            </a:pPr>
            <a:r>
              <a:rPr lang="en-US" sz="2400"/>
              <a:t>Instructions on filling out new CLIA applications if needed</a:t>
            </a:r>
          </a:p>
          <a:p>
            <a:pPr marL="1497013" lvl="4" indent="-457200">
              <a:buFont typeface="Wingdings" panose="05000000000000000000" pitchFamily="2" charset="2"/>
              <a:buChar char="Ø"/>
            </a:pPr>
            <a:r>
              <a:rPr lang="en-US" sz="2400"/>
              <a:t>Model Provider’s Order</a:t>
            </a:r>
          </a:p>
          <a:p>
            <a:pPr marL="1497013" lvl="4" indent="-457200">
              <a:buFont typeface="Wingdings" panose="05000000000000000000" pitchFamily="2" charset="2"/>
              <a:buChar char="Ø"/>
            </a:pPr>
            <a:r>
              <a:rPr lang="en-US" sz="2400"/>
              <a:t>Reporting positive results</a:t>
            </a:r>
            <a:r>
              <a:rPr lang="en-US" sz="2400" dirty="0"/>
              <a:t> registered at school</a:t>
            </a:r>
            <a:endParaRPr lang="en-US" sz="2400"/>
          </a:p>
          <a:p>
            <a:pPr marL="1497013" lvl="4" indent="-457200">
              <a:buFont typeface="Wingdings" panose="05000000000000000000" pitchFamily="2" charset="2"/>
              <a:buChar char="Ø"/>
            </a:pPr>
            <a:r>
              <a:rPr lang="en-US" sz="2400"/>
              <a:t>Recommended elements of a consent form</a:t>
            </a:r>
          </a:p>
          <a:p>
            <a:pPr marL="914400" lvl="2" indent="0">
              <a:buNone/>
            </a:pPr>
            <a:r>
              <a:rPr lang="en-US" sz="2400"/>
              <a:t> </a:t>
            </a:r>
            <a:endParaRPr lang="en-US" sz="2800"/>
          </a:p>
          <a:p>
            <a:pPr marL="914400" lvl="2" indent="0">
              <a:buNone/>
            </a:pPr>
            <a:endParaRPr lang="en-US"/>
          </a:p>
          <a:p>
            <a:pPr lvl="2"/>
            <a:endParaRPr lang="en-US"/>
          </a:p>
          <a:p>
            <a:endParaRPr lang="en-US"/>
          </a:p>
          <a:p>
            <a:endParaRPr lang="en-US"/>
          </a:p>
          <a:p>
            <a:pPr lvl="1"/>
            <a:endParaRPr lang="en-US"/>
          </a:p>
          <a:p>
            <a:endParaRPr lang="en-US"/>
          </a:p>
          <a:p>
            <a:endParaRPr lang="en-US" sz="2800"/>
          </a:p>
          <a:p>
            <a:endParaRPr lang="en-US" sz="2800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B06DD5-385A-4F61-B933-7FA01ABA6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081768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162AB-5583-479B-BEFC-35D4304DE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sting Requirement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057FFF1-EF84-4A4E-BF06-97CE89446F2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3153524"/>
              </p:ext>
            </p:extLst>
          </p:nvPr>
        </p:nvGraphicFramePr>
        <p:xfrm>
          <a:off x="367645" y="1246908"/>
          <a:ext cx="10510888" cy="48070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87044">
                  <a:extLst>
                    <a:ext uri="{9D8B030D-6E8A-4147-A177-3AD203B41FA5}">
                      <a16:colId xmlns:a16="http://schemas.microsoft.com/office/drawing/2014/main" val="3246386108"/>
                    </a:ext>
                  </a:extLst>
                </a:gridCol>
                <a:gridCol w="1731613">
                  <a:extLst>
                    <a:ext uri="{9D8B030D-6E8A-4147-A177-3AD203B41FA5}">
                      <a16:colId xmlns:a16="http://schemas.microsoft.com/office/drawing/2014/main" val="3809882438"/>
                    </a:ext>
                  </a:extLst>
                </a:gridCol>
                <a:gridCol w="2164516">
                  <a:extLst>
                    <a:ext uri="{9D8B030D-6E8A-4147-A177-3AD203B41FA5}">
                      <a16:colId xmlns:a16="http://schemas.microsoft.com/office/drawing/2014/main" val="783063792"/>
                    </a:ext>
                  </a:extLst>
                </a:gridCol>
                <a:gridCol w="1627715">
                  <a:extLst>
                    <a:ext uri="{9D8B030D-6E8A-4147-A177-3AD203B41FA5}">
                      <a16:colId xmlns:a16="http://schemas.microsoft.com/office/drawing/2014/main" val="1375780813"/>
                    </a:ext>
                  </a:extLst>
                </a:gridCol>
              </a:tblGrid>
              <a:tr h="69023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Situation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CLIA Certificate of Waiver Required?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Reporting to DPH Required (</a:t>
                      </a:r>
                      <a:r>
                        <a:rPr lang="en-US" sz="1600" u="sng">
                          <a:effectLst/>
                        </a:rPr>
                        <a:t>Positives Only</a:t>
                      </a:r>
                      <a:r>
                        <a:rPr lang="en-US" sz="1600">
                          <a:effectLst/>
                        </a:rPr>
                        <a:t>)?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Provider’s Order Required?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47849436"/>
                  </a:ext>
                </a:extLst>
              </a:tr>
              <a:tr h="12154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BinaxNOW “Professional” or other official point of care test, any testing reaso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Ye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Ye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Yes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1897372"/>
                  </a:ext>
                </a:extLst>
              </a:tr>
              <a:tr h="39123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elf-test sent home, any testing reaso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No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No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No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13211738"/>
                  </a:ext>
                </a:extLst>
              </a:tr>
              <a:tr h="12154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elf-test performed and result interpreted at school by the individual being tested, any testing reaso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No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No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No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98803364"/>
                  </a:ext>
                </a:extLst>
              </a:tr>
              <a:tr h="1215414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elf-test performed or result interpreted by third party (e.g., staff), any testing reaso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Yes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Ye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Ye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7504622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D7B764-E162-42BD-A705-09969F5E9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0F5A3AA9-1553-4103-BABC-C6F639A285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7645" y="6005089"/>
            <a:ext cx="2066109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more information on when CLIA and other requirements apply, please see CMS guidance at 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2"/>
              </a:rPr>
              <a:t>https://www.cms.gov/files/document/over-counter-otc-home-testing-and-clia-applicability.pdf</a:t>
            </a:r>
            <a:r>
              <a:rPr kumimoji="0" lang="en-US" altLang="en-US" sz="9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492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6571</_dlc_DocId>
    <_dlc_DocIdUrl xmlns="733efe1c-5bbe-4968-87dc-d400e65c879f">
      <Url>https://sharepoint.doemass.org/ese/webteam/cps/_layouts/DocIdRedir.aspx?ID=DESE-231-76571</Url>
      <Description>DESE-231-76571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7E2849-135A-4223-95D9-54FD982AFE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0237B6-0C05-463C-9E8B-BA5823F40B9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733efe1c-5bbe-4968-87dc-d400e65c879f"/>
    <ds:schemaRef ds:uri="0a4e05da-b9bc-4326-ad73-01ef31b9556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E878065-3602-4035-A1B5-FCF62F090F3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1B825025-BDDA-40A6-97D8-0999E78A45AB}">
  <ds:schemaRefs>
    <ds:schemaRef ds:uri="0a4e05da-b9bc-4326-ad73-01ef31b95567"/>
    <ds:schemaRef ds:uri="733efe1c-5bbe-4968-87dc-d400e65c87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682</Words>
  <Application>Microsoft Office PowerPoint</Application>
  <PresentationFormat>Widescreen</PresentationFormat>
  <Paragraphs>104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等线</vt:lpstr>
      <vt:lpstr>Arial</vt:lpstr>
      <vt:lpstr>Calibri</vt:lpstr>
      <vt:lpstr>Courier New</vt:lpstr>
      <vt:lpstr>Segoe</vt:lpstr>
      <vt:lpstr>Segoe SemiBold</vt:lpstr>
      <vt:lpstr>Segoe UI</vt:lpstr>
      <vt:lpstr>Segoe UI Semibold</vt:lpstr>
      <vt:lpstr>Symbol</vt:lpstr>
      <vt:lpstr>Wingdings</vt:lpstr>
      <vt:lpstr>ESE​​</vt:lpstr>
      <vt:lpstr>think-cell Slide</vt:lpstr>
      <vt:lpstr>    COVID-19 Testing Update:  Updates and  Frequently Asked Questions     </vt:lpstr>
      <vt:lpstr>Today’s Presentation</vt:lpstr>
      <vt:lpstr>CONTENTS</vt:lpstr>
      <vt:lpstr>Updated COVID Testing Data</vt:lpstr>
      <vt:lpstr>COVID-19 Testing data</vt:lpstr>
      <vt:lpstr>New FAQ Document  (Released June 9, 2022)</vt:lpstr>
      <vt:lpstr>Reminders</vt:lpstr>
      <vt:lpstr>What’s New in the FAQ</vt:lpstr>
      <vt:lpstr>Testing Requirements</vt:lpstr>
      <vt:lpstr>  AASA Toolkit to Help Schools and Districts Increase Vaccination Rates    </vt:lpstr>
      <vt:lpstr>Addressing Vaccination Rates of U.S. Students: A Toolkit for Educational Leaders </vt:lpstr>
      <vt:lpstr>The Toolk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Testing Update Webinar Slides, June 13, 2022</dc:title>
  <dc:creator>DESE</dc:creator>
  <cp:lastModifiedBy>Zou, Dong (EOE)</cp:lastModifiedBy>
  <cp:revision>3</cp:revision>
  <dcterms:created xsi:type="dcterms:W3CDTF">2020-08-17T18:45:14Z</dcterms:created>
  <dcterms:modified xsi:type="dcterms:W3CDTF">2022-06-13T19:5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Jun 13 2022</vt:lpwstr>
  </property>
</Properties>
</file>